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6"/>
  </p:notesMasterIdLst>
  <p:sldIdLst>
    <p:sldId id="278" r:id="rId3"/>
    <p:sldId id="299" r:id="rId4"/>
    <p:sldId id="291" r:id="rId5"/>
    <p:sldId id="292" r:id="rId6"/>
    <p:sldId id="293" r:id="rId7"/>
    <p:sldId id="294" r:id="rId8"/>
    <p:sldId id="295" r:id="rId9"/>
    <p:sldId id="300" r:id="rId10"/>
    <p:sldId id="296" r:id="rId11"/>
    <p:sldId id="297" r:id="rId12"/>
    <p:sldId id="282" r:id="rId13"/>
    <p:sldId id="298" r:id="rId14"/>
    <p:sldId id="280" r:id="rId15"/>
    <p:sldId id="284" r:id="rId16"/>
    <p:sldId id="281" r:id="rId17"/>
    <p:sldId id="279" r:id="rId18"/>
    <p:sldId id="283" r:id="rId19"/>
    <p:sldId id="285" r:id="rId20"/>
    <p:sldId id="286" r:id="rId21"/>
    <p:sldId id="287" r:id="rId22"/>
    <p:sldId id="288" r:id="rId23"/>
    <p:sldId id="289" r:id="rId24"/>
    <p:sldId id="262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6E72"/>
    <a:srgbClr val="0094C8"/>
    <a:srgbClr val="D7196A"/>
    <a:srgbClr val="15B0C3"/>
    <a:srgbClr val="15B0CF"/>
    <a:srgbClr val="EC6E72"/>
    <a:srgbClr val="E3DE00"/>
    <a:srgbClr val="B9B600"/>
    <a:srgbClr val="B6B914"/>
    <a:srgbClr val="9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71" autoAdjust="0"/>
    <p:restoredTop sz="75047" autoAdjust="0"/>
  </p:normalViewPr>
  <p:slideViewPr>
    <p:cSldViewPr snapToGrid="0" snapToObjects="1">
      <p:cViewPr varScale="1">
        <p:scale>
          <a:sx n="56" d="100"/>
          <a:sy n="56" d="100"/>
        </p:scale>
        <p:origin x="1878" y="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image" Target="../media/image2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jpeg"/><Relationship Id="rId1" Type="http://schemas.openxmlformats.org/officeDocument/2006/relationships/image" Target="../media/image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51810E-81A0-408C-9975-287E9646565E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A59F21D3-2C7C-4D57-B778-0716FA98F7DC}">
      <dgm:prSet phldrT="[Text]"/>
      <dgm:spPr/>
      <dgm:t>
        <a:bodyPr/>
        <a:lstStyle/>
        <a:p>
          <a:r>
            <a:rPr lang="en-IN" dirty="0" smtClean="0"/>
            <a:t>Ionic Framework</a:t>
          </a:r>
          <a:endParaRPr lang="en-IN" dirty="0"/>
        </a:p>
      </dgm:t>
    </dgm:pt>
    <dgm:pt modelId="{03B40916-D01E-402D-8ADF-D53740D07389}" type="parTrans" cxnId="{CBAA8E5B-7D83-47DD-9376-AB76DBFB9BC8}">
      <dgm:prSet/>
      <dgm:spPr/>
      <dgm:t>
        <a:bodyPr/>
        <a:lstStyle/>
        <a:p>
          <a:endParaRPr lang="en-IN"/>
        </a:p>
      </dgm:t>
    </dgm:pt>
    <dgm:pt modelId="{2E8B7C86-A8D2-4E1F-BFC1-F66FEB84A8A7}" type="sibTrans" cxnId="{CBAA8E5B-7D83-47DD-9376-AB76DBFB9BC8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2000" r="-42000"/>
          </a:stretch>
        </a:blipFill>
      </dgm:spPr>
      <dgm:t>
        <a:bodyPr/>
        <a:lstStyle/>
        <a:p>
          <a:endParaRPr lang="en-IN"/>
        </a:p>
      </dgm:t>
    </dgm:pt>
    <dgm:pt modelId="{F18FE321-4DE3-42F3-8637-2E2A6A5B3BBE}">
      <dgm:prSet phldrT="[Text]"/>
      <dgm:spPr/>
      <dgm:t>
        <a:bodyPr/>
        <a:lstStyle/>
        <a:p>
          <a:r>
            <a:rPr lang="en-IN" dirty="0" smtClean="0"/>
            <a:t>Mobile App Development</a:t>
          </a:r>
          <a:endParaRPr lang="en-IN" dirty="0"/>
        </a:p>
      </dgm:t>
    </dgm:pt>
    <dgm:pt modelId="{4CCB5C61-EBBF-44FB-8D49-DBB2D2A6D236}" type="parTrans" cxnId="{942C24BC-D4FE-42AA-99A2-DD03416F0361}">
      <dgm:prSet/>
      <dgm:spPr/>
      <dgm:t>
        <a:bodyPr/>
        <a:lstStyle/>
        <a:p>
          <a:endParaRPr lang="en-IN"/>
        </a:p>
      </dgm:t>
    </dgm:pt>
    <dgm:pt modelId="{3F2DBF7C-B232-4B57-98E2-17BA9A91E259}" type="sibTrans" cxnId="{942C24BC-D4FE-42AA-99A2-DD03416F0361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  <dgm:t>
        <a:bodyPr/>
        <a:lstStyle/>
        <a:p>
          <a:endParaRPr lang="en-IN"/>
        </a:p>
      </dgm:t>
    </dgm:pt>
    <dgm:pt modelId="{6B48687A-E86E-4546-9B36-2D01D77C61F0}">
      <dgm:prSet phldrT="[Text]"/>
      <dgm:spPr/>
      <dgm:t>
        <a:bodyPr/>
        <a:lstStyle/>
        <a:p>
          <a:r>
            <a:rPr lang="en-IN" dirty="0" smtClean="0"/>
            <a:t>Hybrid App</a:t>
          </a:r>
          <a:endParaRPr lang="en-IN" dirty="0"/>
        </a:p>
      </dgm:t>
    </dgm:pt>
    <dgm:pt modelId="{9E485D9E-1954-4531-854B-F6C87B6A0965}" type="sibTrans" cxnId="{5CD4688B-8009-41DB-880D-37EFE384498C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  <dgm:t>
        <a:bodyPr/>
        <a:lstStyle/>
        <a:p>
          <a:endParaRPr lang="en-IN"/>
        </a:p>
      </dgm:t>
    </dgm:pt>
    <dgm:pt modelId="{3231EBFD-8394-4883-9737-8780DA637E53}" type="parTrans" cxnId="{5CD4688B-8009-41DB-880D-37EFE384498C}">
      <dgm:prSet/>
      <dgm:spPr/>
      <dgm:t>
        <a:bodyPr/>
        <a:lstStyle/>
        <a:p>
          <a:endParaRPr lang="en-IN"/>
        </a:p>
      </dgm:t>
    </dgm:pt>
    <dgm:pt modelId="{99F483B5-A47C-4269-8ABD-5F81EEF285B9}" type="pres">
      <dgm:prSet presAssocID="{CF51810E-81A0-408C-9975-287E9646565E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en-IN"/>
        </a:p>
      </dgm:t>
    </dgm:pt>
    <dgm:pt modelId="{5F5CD253-F405-4452-BC66-CD40844925B3}" type="pres">
      <dgm:prSet presAssocID="{F18FE321-4DE3-42F3-8637-2E2A6A5B3BBE}" presName="text1" presStyleCnt="0"/>
      <dgm:spPr/>
    </dgm:pt>
    <dgm:pt modelId="{15CEC4AA-2D75-47CB-A88D-B8973575F530}" type="pres">
      <dgm:prSet presAssocID="{F18FE321-4DE3-42F3-8637-2E2A6A5B3BBE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91DA510-9CC7-48A9-9A63-9E3D949FDA8C}" type="pres">
      <dgm:prSet presAssocID="{F18FE321-4DE3-42F3-8637-2E2A6A5B3BBE}" presName="textaccent1" presStyleCnt="0"/>
      <dgm:spPr/>
    </dgm:pt>
    <dgm:pt modelId="{F28AE95F-D38C-43B9-910F-D7FE0A7324E0}" type="pres">
      <dgm:prSet presAssocID="{F18FE321-4DE3-42F3-8637-2E2A6A5B3BBE}" presName="accentRepeatNode" presStyleLbl="solidAlignAcc1" presStyleIdx="0" presStyleCnt="6"/>
      <dgm:spPr/>
    </dgm:pt>
    <dgm:pt modelId="{6D62B47D-23F8-44D0-A068-F83A3331D425}" type="pres">
      <dgm:prSet presAssocID="{3F2DBF7C-B232-4B57-98E2-17BA9A91E259}" presName="image1" presStyleCnt="0"/>
      <dgm:spPr/>
    </dgm:pt>
    <dgm:pt modelId="{60B7D69B-55E5-4858-B129-C9D84FD960E8}" type="pres">
      <dgm:prSet presAssocID="{3F2DBF7C-B232-4B57-98E2-17BA9A91E259}" presName="imageRepeatNode" presStyleLbl="alignAcc1" presStyleIdx="0" presStyleCnt="3"/>
      <dgm:spPr/>
      <dgm:t>
        <a:bodyPr/>
        <a:lstStyle/>
        <a:p>
          <a:endParaRPr lang="en-IN"/>
        </a:p>
      </dgm:t>
    </dgm:pt>
    <dgm:pt modelId="{5A3A1BA4-1C48-4D83-A330-E690E350B076}" type="pres">
      <dgm:prSet presAssocID="{3F2DBF7C-B232-4B57-98E2-17BA9A91E259}" presName="imageaccent1" presStyleCnt="0"/>
      <dgm:spPr/>
    </dgm:pt>
    <dgm:pt modelId="{3E7C130F-6D5A-4A2A-B4F9-20ED3E23CF2A}" type="pres">
      <dgm:prSet presAssocID="{3F2DBF7C-B232-4B57-98E2-17BA9A91E259}" presName="accentRepeatNode" presStyleLbl="solidAlignAcc1" presStyleIdx="1" presStyleCnt="6"/>
      <dgm:spPr/>
    </dgm:pt>
    <dgm:pt modelId="{DC0E419F-AA98-4D44-8879-4C0D3093B266}" type="pres">
      <dgm:prSet presAssocID="{A59F21D3-2C7C-4D57-B778-0716FA98F7DC}" presName="text2" presStyleCnt="0"/>
      <dgm:spPr/>
    </dgm:pt>
    <dgm:pt modelId="{5F4EF9F6-4AD8-4A8A-B2B0-B7506BC50049}" type="pres">
      <dgm:prSet presAssocID="{A59F21D3-2C7C-4D57-B778-0716FA98F7DC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DE5DFDF-76A9-4858-B4A9-07CD3CB0ED68}" type="pres">
      <dgm:prSet presAssocID="{A59F21D3-2C7C-4D57-B778-0716FA98F7DC}" presName="textaccent2" presStyleCnt="0"/>
      <dgm:spPr/>
    </dgm:pt>
    <dgm:pt modelId="{F8FA57B0-5803-464B-8056-E2A73F5E4D81}" type="pres">
      <dgm:prSet presAssocID="{A59F21D3-2C7C-4D57-B778-0716FA98F7DC}" presName="accentRepeatNode" presStyleLbl="solidAlignAcc1" presStyleIdx="2" presStyleCnt="6"/>
      <dgm:spPr/>
    </dgm:pt>
    <dgm:pt modelId="{7F465EAE-043D-4E64-B30F-ABCCC3CFE877}" type="pres">
      <dgm:prSet presAssocID="{2E8B7C86-A8D2-4E1F-BFC1-F66FEB84A8A7}" presName="image2" presStyleCnt="0"/>
      <dgm:spPr/>
    </dgm:pt>
    <dgm:pt modelId="{C212CC31-25CA-4F73-9DDA-B22C49A7C230}" type="pres">
      <dgm:prSet presAssocID="{2E8B7C86-A8D2-4E1F-BFC1-F66FEB84A8A7}" presName="imageRepeatNode" presStyleLbl="alignAcc1" presStyleIdx="1" presStyleCnt="3" custLinFactNeighborX="-85356" custLinFactNeighborY="71992"/>
      <dgm:spPr/>
      <dgm:t>
        <a:bodyPr/>
        <a:lstStyle/>
        <a:p>
          <a:endParaRPr lang="en-IN"/>
        </a:p>
      </dgm:t>
    </dgm:pt>
    <dgm:pt modelId="{336D90F5-F7A7-4AED-BBBF-EA6C0907F19A}" type="pres">
      <dgm:prSet presAssocID="{2E8B7C86-A8D2-4E1F-BFC1-F66FEB84A8A7}" presName="imageaccent2" presStyleCnt="0"/>
      <dgm:spPr/>
    </dgm:pt>
    <dgm:pt modelId="{CCB53A3E-A66D-4C2C-8D47-1EF09B58CE43}" type="pres">
      <dgm:prSet presAssocID="{2E8B7C86-A8D2-4E1F-BFC1-F66FEB84A8A7}" presName="accentRepeatNode" presStyleLbl="solidAlignAcc1" presStyleIdx="3" presStyleCnt="6" custLinFactX="-87953" custLinFactY="18950" custLinFactNeighborX="-100000" custLinFactNeighborY="100000"/>
      <dgm:spPr/>
    </dgm:pt>
    <dgm:pt modelId="{B8DF0738-682C-416B-A786-53F39B07CA6B}" type="pres">
      <dgm:prSet presAssocID="{6B48687A-E86E-4546-9B36-2D01D77C61F0}" presName="text3" presStyleCnt="0"/>
      <dgm:spPr/>
    </dgm:pt>
    <dgm:pt modelId="{1B006DFC-90F8-47B2-B516-05FC6F713972}" type="pres">
      <dgm:prSet presAssocID="{6B48687A-E86E-4546-9B36-2D01D77C61F0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82A374A-49E5-4BE0-9DB2-FDC3D10F4EFD}" type="pres">
      <dgm:prSet presAssocID="{6B48687A-E86E-4546-9B36-2D01D77C61F0}" presName="textaccent3" presStyleCnt="0"/>
      <dgm:spPr/>
    </dgm:pt>
    <dgm:pt modelId="{7FA03A84-55C6-4926-A08C-30AA9B1FFFD9}" type="pres">
      <dgm:prSet presAssocID="{6B48687A-E86E-4546-9B36-2D01D77C61F0}" presName="accentRepeatNode" presStyleLbl="solidAlignAcc1" presStyleIdx="4" presStyleCnt="6"/>
      <dgm:spPr/>
    </dgm:pt>
    <dgm:pt modelId="{93C015E1-6EBB-41B8-BC35-C45C4D454D8D}" type="pres">
      <dgm:prSet presAssocID="{9E485D9E-1954-4531-854B-F6C87B6A0965}" presName="image3" presStyleCnt="0"/>
      <dgm:spPr/>
    </dgm:pt>
    <dgm:pt modelId="{09429DB8-80DF-44D9-8657-7AFFE47A3217}" type="pres">
      <dgm:prSet presAssocID="{9E485D9E-1954-4531-854B-F6C87B6A0965}" presName="imageRepeatNode" presStyleLbl="alignAcc1" presStyleIdx="2" presStyleCnt="3"/>
      <dgm:spPr/>
      <dgm:t>
        <a:bodyPr/>
        <a:lstStyle/>
        <a:p>
          <a:endParaRPr lang="en-IN"/>
        </a:p>
      </dgm:t>
    </dgm:pt>
    <dgm:pt modelId="{AEAA1C16-3FDD-4F7F-9A1D-68B0EDA7C1DC}" type="pres">
      <dgm:prSet presAssocID="{9E485D9E-1954-4531-854B-F6C87B6A0965}" presName="imageaccent3" presStyleCnt="0"/>
      <dgm:spPr/>
    </dgm:pt>
    <dgm:pt modelId="{50C41713-52E0-48AA-A2FC-BE77DA4F4B19}" type="pres">
      <dgm:prSet presAssocID="{9E485D9E-1954-4531-854B-F6C87B6A0965}" presName="accentRepeatNode" presStyleLbl="solidAlignAcc1" presStyleIdx="5" presStyleCnt="6"/>
      <dgm:spPr/>
    </dgm:pt>
  </dgm:ptLst>
  <dgm:cxnLst>
    <dgm:cxn modelId="{5CD4688B-8009-41DB-880D-37EFE384498C}" srcId="{CF51810E-81A0-408C-9975-287E9646565E}" destId="{6B48687A-E86E-4546-9B36-2D01D77C61F0}" srcOrd="2" destOrd="0" parTransId="{3231EBFD-8394-4883-9737-8780DA637E53}" sibTransId="{9E485D9E-1954-4531-854B-F6C87B6A0965}"/>
    <dgm:cxn modelId="{D56C9A20-B845-4FA9-A914-97AAA12C9944}" type="presOf" srcId="{F18FE321-4DE3-42F3-8637-2E2A6A5B3BBE}" destId="{15CEC4AA-2D75-47CB-A88D-B8973575F530}" srcOrd="0" destOrd="0" presId="urn:microsoft.com/office/officeart/2008/layout/HexagonCluster"/>
    <dgm:cxn modelId="{6712D4BD-E3F2-4380-80A5-458E9AA80684}" type="presOf" srcId="{A59F21D3-2C7C-4D57-B778-0716FA98F7DC}" destId="{5F4EF9F6-4AD8-4A8A-B2B0-B7506BC50049}" srcOrd="0" destOrd="0" presId="urn:microsoft.com/office/officeart/2008/layout/HexagonCluster"/>
    <dgm:cxn modelId="{7FE00FC4-85A9-4B06-84E6-183D4C736A72}" type="presOf" srcId="{6B48687A-E86E-4546-9B36-2D01D77C61F0}" destId="{1B006DFC-90F8-47B2-B516-05FC6F713972}" srcOrd="0" destOrd="0" presId="urn:microsoft.com/office/officeart/2008/layout/HexagonCluster"/>
    <dgm:cxn modelId="{8BC9DA16-5DD8-4952-BE24-CC07A8E70065}" type="presOf" srcId="{2E8B7C86-A8D2-4E1F-BFC1-F66FEB84A8A7}" destId="{C212CC31-25CA-4F73-9DDA-B22C49A7C230}" srcOrd="0" destOrd="0" presId="urn:microsoft.com/office/officeart/2008/layout/HexagonCluster"/>
    <dgm:cxn modelId="{78B97EB5-24C4-4787-BA94-FF402DF0288A}" type="presOf" srcId="{9E485D9E-1954-4531-854B-F6C87B6A0965}" destId="{09429DB8-80DF-44D9-8657-7AFFE47A3217}" srcOrd="0" destOrd="0" presId="urn:microsoft.com/office/officeart/2008/layout/HexagonCluster"/>
    <dgm:cxn modelId="{942C24BC-D4FE-42AA-99A2-DD03416F0361}" srcId="{CF51810E-81A0-408C-9975-287E9646565E}" destId="{F18FE321-4DE3-42F3-8637-2E2A6A5B3BBE}" srcOrd="0" destOrd="0" parTransId="{4CCB5C61-EBBF-44FB-8D49-DBB2D2A6D236}" sibTransId="{3F2DBF7C-B232-4B57-98E2-17BA9A91E259}"/>
    <dgm:cxn modelId="{A98C9117-7172-4485-87C8-973BD178A984}" type="presOf" srcId="{CF51810E-81A0-408C-9975-287E9646565E}" destId="{99F483B5-A47C-4269-8ABD-5F81EEF285B9}" srcOrd="0" destOrd="0" presId="urn:microsoft.com/office/officeart/2008/layout/HexagonCluster"/>
    <dgm:cxn modelId="{CBAA8E5B-7D83-47DD-9376-AB76DBFB9BC8}" srcId="{CF51810E-81A0-408C-9975-287E9646565E}" destId="{A59F21D3-2C7C-4D57-B778-0716FA98F7DC}" srcOrd="1" destOrd="0" parTransId="{03B40916-D01E-402D-8ADF-D53740D07389}" sibTransId="{2E8B7C86-A8D2-4E1F-BFC1-F66FEB84A8A7}"/>
    <dgm:cxn modelId="{184C10F6-2AE4-4618-81EC-A462846F65C1}" type="presOf" srcId="{3F2DBF7C-B232-4B57-98E2-17BA9A91E259}" destId="{60B7D69B-55E5-4858-B129-C9D84FD960E8}" srcOrd="0" destOrd="0" presId="urn:microsoft.com/office/officeart/2008/layout/HexagonCluster"/>
    <dgm:cxn modelId="{830BFAE6-F152-4231-8062-07B73D7E47BF}" type="presParOf" srcId="{99F483B5-A47C-4269-8ABD-5F81EEF285B9}" destId="{5F5CD253-F405-4452-BC66-CD40844925B3}" srcOrd="0" destOrd="0" presId="urn:microsoft.com/office/officeart/2008/layout/HexagonCluster"/>
    <dgm:cxn modelId="{9920907C-DF00-4743-82CC-3C0A6A3F7103}" type="presParOf" srcId="{5F5CD253-F405-4452-BC66-CD40844925B3}" destId="{15CEC4AA-2D75-47CB-A88D-B8973575F530}" srcOrd="0" destOrd="0" presId="urn:microsoft.com/office/officeart/2008/layout/HexagonCluster"/>
    <dgm:cxn modelId="{5672E5C3-4703-4522-B7DB-7185D42D1C8D}" type="presParOf" srcId="{99F483B5-A47C-4269-8ABD-5F81EEF285B9}" destId="{791DA510-9CC7-48A9-9A63-9E3D949FDA8C}" srcOrd="1" destOrd="0" presId="urn:microsoft.com/office/officeart/2008/layout/HexagonCluster"/>
    <dgm:cxn modelId="{08AA3EEA-6F98-42A3-9027-9F4754615F33}" type="presParOf" srcId="{791DA510-9CC7-48A9-9A63-9E3D949FDA8C}" destId="{F28AE95F-D38C-43B9-910F-D7FE0A7324E0}" srcOrd="0" destOrd="0" presId="urn:microsoft.com/office/officeart/2008/layout/HexagonCluster"/>
    <dgm:cxn modelId="{1E44C582-F18E-4395-93E2-51A661C740C3}" type="presParOf" srcId="{99F483B5-A47C-4269-8ABD-5F81EEF285B9}" destId="{6D62B47D-23F8-44D0-A068-F83A3331D425}" srcOrd="2" destOrd="0" presId="urn:microsoft.com/office/officeart/2008/layout/HexagonCluster"/>
    <dgm:cxn modelId="{04C8F02F-E8D1-4133-8E7E-3DCB16054D31}" type="presParOf" srcId="{6D62B47D-23F8-44D0-A068-F83A3331D425}" destId="{60B7D69B-55E5-4858-B129-C9D84FD960E8}" srcOrd="0" destOrd="0" presId="urn:microsoft.com/office/officeart/2008/layout/HexagonCluster"/>
    <dgm:cxn modelId="{CF4739AC-06B1-43F6-8D16-3E478E72148C}" type="presParOf" srcId="{99F483B5-A47C-4269-8ABD-5F81EEF285B9}" destId="{5A3A1BA4-1C48-4D83-A330-E690E350B076}" srcOrd="3" destOrd="0" presId="urn:microsoft.com/office/officeart/2008/layout/HexagonCluster"/>
    <dgm:cxn modelId="{8A85492F-7F53-46F1-BD16-38B7A9E66C3E}" type="presParOf" srcId="{5A3A1BA4-1C48-4D83-A330-E690E350B076}" destId="{3E7C130F-6D5A-4A2A-B4F9-20ED3E23CF2A}" srcOrd="0" destOrd="0" presId="urn:microsoft.com/office/officeart/2008/layout/HexagonCluster"/>
    <dgm:cxn modelId="{36F16103-454E-4F54-8425-2ED970849D6E}" type="presParOf" srcId="{99F483B5-A47C-4269-8ABD-5F81EEF285B9}" destId="{DC0E419F-AA98-4D44-8879-4C0D3093B266}" srcOrd="4" destOrd="0" presId="urn:microsoft.com/office/officeart/2008/layout/HexagonCluster"/>
    <dgm:cxn modelId="{CD7D3715-15AF-49EF-920E-2F18D64BFB8D}" type="presParOf" srcId="{DC0E419F-AA98-4D44-8879-4C0D3093B266}" destId="{5F4EF9F6-4AD8-4A8A-B2B0-B7506BC50049}" srcOrd="0" destOrd="0" presId="urn:microsoft.com/office/officeart/2008/layout/HexagonCluster"/>
    <dgm:cxn modelId="{7B4ADF32-8E1C-4040-9B5C-003A06A77133}" type="presParOf" srcId="{99F483B5-A47C-4269-8ABD-5F81EEF285B9}" destId="{DDE5DFDF-76A9-4858-B4A9-07CD3CB0ED68}" srcOrd="5" destOrd="0" presId="urn:microsoft.com/office/officeart/2008/layout/HexagonCluster"/>
    <dgm:cxn modelId="{8C679397-BF94-41BA-BFD9-12CA7D32948E}" type="presParOf" srcId="{DDE5DFDF-76A9-4858-B4A9-07CD3CB0ED68}" destId="{F8FA57B0-5803-464B-8056-E2A73F5E4D81}" srcOrd="0" destOrd="0" presId="urn:microsoft.com/office/officeart/2008/layout/HexagonCluster"/>
    <dgm:cxn modelId="{E7F04A15-D0D5-48C9-8C95-A066AD7A982E}" type="presParOf" srcId="{99F483B5-A47C-4269-8ABD-5F81EEF285B9}" destId="{7F465EAE-043D-4E64-B30F-ABCCC3CFE877}" srcOrd="6" destOrd="0" presId="urn:microsoft.com/office/officeart/2008/layout/HexagonCluster"/>
    <dgm:cxn modelId="{90DA38BA-DCA2-407D-AE9E-FE8BBFC64051}" type="presParOf" srcId="{7F465EAE-043D-4E64-B30F-ABCCC3CFE877}" destId="{C212CC31-25CA-4F73-9DDA-B22C49A7C230}" srcOrd="0" destOrd="0" presId="urn:microsoft.com/office/officeart/2008/layout/HexagonCluster"/>
    <dgm:cxn modelId="{88E199A1-2029-4A52-9C52-097E4C711774}" type="presParOf" srcId="{99F483B5-A47C-4269-8ABD-5F81EEF285B9}" destId="{336D90F5-F7A7-4AED-BBBF-EA6C0907F19A}" srcOrd="7" destOrd="0" presId="urn:microsoft.com/office/officeart/2008/layout/HexagonCluster"/>
    <dgm:cxn modelId="{E71426A6-F1E3-4B71-9C43-F21F9D01CA58}" type="presParOf" srcId="{336D90F5-F7A7-4AED-BBBF-EA6C0907F19A}" destId="{CCB53A3E-A66D-4C2C-8D47-1EF09B58CE43}" srcOrd="0" destOrd="0" presId="urn:microsoft.com/office/officeart/2008/layout/HexagonCluster"/>
    <dgm:cxn modelId="{6256C648-9C48-43A6-8F61-0F44C7266771}" type="presParOf" srcId="{99F483B5-A47C-4269-8ABD-5F81EEF285B9}" destId="{B8DF0738-682C-416B-A786-53F39B07CA6B}" srcOrd="8" destOrd="0" presId="urn:microsoft.com/office/officeart/2008/layout/HexagonCluster"/>
    <dgm:cxn modelId="{8B98AD32-1647-4120-8C0E-217C6603F8F7}" type="presParOf" srcId="{B8DF0738-682C-416B-A786-53F39B07CA6B}" destId="{1B006DFC-90F8-47B2-B516-05FC6F713972}" srcOrd="0" destOrd="0" presId="urn:microsoft.com/office/officeart/2008/layout/HexagonCluster"/>
    <dgm:cxn modelId="{41ACA7E3-F6D6-483B-9681-2210DA20FC6A}" type="presParOf" srcId="{99F483B5-A47C-4269-8ABD-5F81EEF285B9}" destId="{A82A374A-49E5-4BE0-9DB2-FDC3D10F4EFD}" srcOrd="9" destOrd="0" presId="urn:microsoft.com/office/officeart/2008/layout/HexagonCluster"/>
    <dgm:cxn modelId="{4B2DF200-1A4F-4364-9AF3-CC7F469E4A63}" type="presParOf" srcId="{A82A374A-49E5-4BE0-9DB2-FDC3D10F4EFD}" destId="{7FA03A84-55C6-4926-A08C-30AA9B1FFFD9}" srcOrd="0" destOrd="0" presId="urn:microsoft.com/office/officeart/2008/layout/HexagonCluster"/>
    <dgm:cxn modelId="{6BE7F5E4-6235-4894-BCA3-A54AB6BC5128}" type="presParOf" srcId="{99F483B5-A47C-4269-8ABD-5F81EEF285B9}" destId="{93C015E1-6EBB-41B8-BC35-C45C4D454D8D}" srcOrd="10" destOrd="0" presId="urn:microsoft.com/office/officeart/2008/layout/HexagonCluster"/>
    <dgm:cxn modelId="{B53A53A9-D65E-4EB3-BD13-F883FAB3567E}" type="presParOf" srcId="{93C015E1-6EBB-41B8-BC35-C45C4D454D8D}" destId="{09429DB8-80DF-44D9-8657-7AFFE47A3217}" srcOrd="0" destOrd="0" presId="urn:microsoft.com/office/officeart/2008/layout/HexagonCluster"/>
    <dgm:cxn modelId="{38628EA4-6522-41E7-969E-5C8CE86111D4}" type="presParOf" srcId="{99F483B5-A47C-4269-8ABD-5F81EEF285B9}" destId="{AEAA1C16-3FDD-4F7F-9A1D-68B0EDA7C1DC}" srcOrd="11" destOrd="0" presId="urn:microsoft.com/office/officeart/2008/layout/HexagonCluster"/>
    <dgm:cxn modelId="{65D4A64E-318F-4BB9-ABD4-32BDF5F74EC7}" type="presParOf" srcId="{AEAA1C16-3FDD-4F7F-9A1D-68B0EDA7C1DC}" destId="{50C41713-52E0-48AA-A2FC-BE77DA4F4B19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CEC4AA-2D75-47CB-A88D-B8973575F530}">
      <dsp:nvSpPr>
        <dsp:cNvPr id="0" name=""/>
        <dsp:cNvSpPr/>
      </dsp:nvSpPr>
      <dsp:spPr>
        <a:xfrm>
          <a:off x="1650900" y="3693057"/>
          <a:ext cx="1931320" cy="166513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Mobile App Development</a:t>
          </a:r>
          <a:endParaRPr lang="en-IN" sz="1900" kern="1200" dirty="0"/>
        </a:p>
      </dsp:txBody>
      <dsp:txXfrm>
        <a:off x="1950605" y="3951454"/>
        <a:ext cx="1331911" cy="1148340"/>
      </dsp:txXfrm>
    </dsp:sp>
    <dsp:sp modelId="{F28AE95F-D38C-43B9-910F-D7FE0A7324E0}">
      <dsp:nvSpPr>
        <dsp:cNvPr id="0" name=""/>
        <dsp:cNvSpPr/>
      </dsp:nvSpPr>
      <dsp:spPr>
        <a:xfrm>
          <a:off x="1701073" y="4428180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B7D69B-55E5-4858-B129-C9D84FD960E8}">
      <dsp:nvSpPr>
        <dsp:cNvPr id="0" name=""/>
        <dsp:cNvSpPr/>
      </dsp:nvSpPr>
      <dsp:spPr>
        <a:xfrm>
          <a:off x="0" y="2798680"/>
          <a:ext cx="1931320" cy="166513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7C130F-6D5A-4A2A-B4F9-20ED3E23CF2A}">
      <dsp:nvSpPr>
        <dsp:cNvPr id="0" name=""/>
        <dsp:cNvSpPr/>
      </dsp:nvSpPr>
      <dsp:spPr>
        <a:xfrm>
          <a:off x="1314809" y="4243850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4EF9F6-4AD8-4A8A-B2B0-B7506BC50049}">
      <dsp:nvSpPr>
        <dsp:cNvPr id="0" name=""/>
        <dsp:cNvSpPr/>
      </dsp:nvSpPr>
      <dsp:spPr>
        <a:xfrm>
          <a:off x="3296302" y="2778883"/>
          <a:ext cx="1931320" cy="166513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Ionic Framework</a:t>
          </a:r>
          <a:endParaRPr lang="en-IN" sz="1900" kern="1200" dirty="0"/>
        </a:p>
      </dsp:txBody>
      <dsp:txXfrm>
        <a:off x="3596007" y="3037280"/>
        <a:ext cx="1331911" cy="1148340"/>
      </dsp:txXfrm>
    </dsp:sp>
    <dsp:sp modelId="{F8FA57B0-5803-464B-8056-E2A73F5E4D81}">
      <dsp:nvSpPr>
        <dsp:cNvPr id="0" name=""/>
        <dsp:cNvSpPr/>
      </dsp:nvSpPr>
      <dsp:spPr>
        <a:xfrm>
          <a:off x="4616610" y="4222293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12CC31-25CA-4F73-9DDA-B22C49A7C230}">
      <dsp:nvSpPr>
        <dsp:cNvPr id="0" name=""/>
        <dsp:cNvSpPr/>
      </dsp:nvSpPr>
      <dsp:spPr>
        <a:xfrm>
          <a:off x="3293207" y="4651951"/>
          <a:ext cx="1931320" cy="166513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2000" r="-42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B53A3E-A66D-4C2C-8D47-1EF09B58CE43}">
      <dsp:nvSpPr>
        <dsp:cNvPr id="0" name=""/>
        <dsp:cNvSpPr/>
      </dsp:nvSpPr>
      <dsp:spPr>
        <a:xfrm>
          <a:off x="4566873" y="4660001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006DFC-90F8-47B2-B516-05FC6F713972}">
      <dsp:nvSpPr>
        <dsp:cNvPr id="0" name=""/>
        <dsp:cNvSpPr/>
      </dsp:nvSpPr>
      <dsp:spPr>
        <a:xfrm>
          <a:off x="1650900" y="1868668"/>
          <a:ext cx="1931320" cy="166513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Hybrid App</a:t>
          </a:r>
          <a:endParaRPr lang="en-IN" sz="1900" kern="1200" dirty="0"/>
        </a:p>
      </dsp:txBody>
      <dsp:txXfrm>
        <a:off x="1950605" y="2127065"/>
        <a:ext cx="1331911" cy="1148340"/>
      </dsp:txXfrm>
    </dsp:sp>
    <dsp:sp modelId="{7FA03A84-55C6-4926-A08C-30AA9B1FFFD9}">
      <dsp:nvSpPr>
        <dsp:cNvPr id="0" name=""/>
        <dsp:cNvSpPr/>
      </dsp:nvSpPr>
      <dsp:spPr>
        <a:xfrm>
          <a:off x="2960211" y="1904742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429DB8-80DF-44D9-8657-7AFFE47A3217}">
      <dsp:nvSpPr>
        <dsp:cNvPr id="0" name=""/>
        <dsp:cNvSpPr/>
      </dsp:nvSpPr>
      <dsp:spPr>
        <a:xfrm>
          <a:off x="3296302" y="958893"/>
          <a:ext cx="1931320" cy="166513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C41713-52E0-48AA-A2FC-BE77DA4F4B19}">
      <dsp:nvSpPr>
        <dsp:cNvPr id="0" name=""/>
        <dsp:cNvSpPr/>
      </dsp:nvSpPr>
      <dsp:spPr>
        <a:xfrm>
          <a:off x="3353348" y="1690056"/>
          <a:ext cx="226122" cy="19488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9D33F-2AA3-4838-AAA7-A6748EC4FF9E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078DE-0EAB-43EC-B0D5-FB8279C2EC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24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b="1" dirty="0" smtClean="0"/>
              <a:t>White papers</a:t>
            </a:r>
            <a:r>
              <a:rPr lang="en-IN" dirty="0" smtClean="0"/>
              <a:t> are sales and marketing documents used to entice or persuade potential customers to learn more about or purchase a particular product, service, technology or methodology.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535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tive apps have binary executable files that are downloaded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ectly to the device and stored locall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installation process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be initiated by the user or vendor compan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most popular way to download a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tive app is by visiting an app store, such as Apple’s App Store,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roid’s Marketplace or BlackBerry’s App World, but other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thods exist and are sometimes provided by the mobile vendo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Add</a:t>
            </a:r>
            <a:r>
              <a:rPr lang="en-US" baseline="0" dirty="0" smtClean="0"/>
              <a:t> </a:t>
            </a:r>
            <a:r>
              <a:rPr lang="en-US" baseline="0" dirty="0" smtClean="0"/>
              <a:t>examples such as Angry Birds, </a:t>
            </a:r>
            <a:r>
              <a:rPr lang="en-US" baseline="0" dirty="0" err="1" smtClean="0"/>
              <a:t>Retrica</a:t>
            </a:r>
            <a:r>
              <a:rPr lang="en-US" baseline="0" dirty="0" smtClean="0"/>
              <a:t>(camera app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96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ce the native application is installed on the mobile device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launched by the user, it interacts with the mobile operating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ystem through proprietary API calls that the operating system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s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se can be divided into two groups: low-level APIs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high-level APIs.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484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 companies go even further and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hance the user experience by creating a mobile website that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s like a native app and can be launched from a shortcut that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 indistinguishable from that used to launch native app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 of the most prominent advantages of a web app is its multiplatform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pport and low cost of develop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ost mobile vendors utilize the same rendering engine in their browsers,</a:t>
            </a:r>
          </a:p>
          <a:p>
            <a:r>
              <a:rPr lang="en-IN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bKit</a:t>
            </a: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—an open-source project led mainly by Google and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le that provides the most comprehensive HTML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b apps run within the browser</a:t>
            </a:r>
            <a:endParaRPr lang="en-US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/>
              <a:t>Add</a:t>
            </a:r>
            <a:r>
              <a:rPr lang="en-US" baseline="0" dirty="0" smtClean="0"/>
              <a:t> </a:t>
            </a:r>
            <a:r>
              <a:rPr lang="en-US" baseline="0" dirty="0" smtClean="0"/>
              <a:t>examples such as Google docs, </a:t>
            </a:r>
            <a:r>
              <a:rPr lang="en-US" baseline="0" dirty="0" err="1" smtClean="0"/>
              <a:t>icloud</a:t>
            </a:r>
            <a:r>
              <a:rPr lang="en-US" baseline="0" dirty="0" smtClean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6092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hybrid approach combines native development with web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olo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ative portion of the application uses the operating system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Is to create an embedded HTML rendering engine that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s as a bridge between the browser and the device API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bridge enables the hybrid app to take full advantage of all</a:t>
            </a:r>
          </a:p>
          <a:p>
            <a:r>
              <a:rPr lang="en-I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features that modern devices have to offer.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784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 smtClean="0"/>
              <a:t>Explain from knowledge</a:t>
            </a:r>
            <a:r>
              <a:rPr lang="en-IN" baseline="0" dirty="0" smtClean="0"/>
              <a:t> of </a:t>
            </a:r>
            <a:r>
              <a:rPr lang="en-IN" dirty="0" smtClean="0"/>
              <a:t>previous slides notes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294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native portion of the application uses the operating system APIs to create an embedded HTML rendering engine that serves as a bridge between the browser and the device APIs.</a:t>
            </a:r>
          </a:p>
          <a:p>
            <a:pPr>
              <a:buFont typeface="Arial" pitchFamily="34" charset="0"/>
              <a:buChar char="•"/>
            </a:pP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bridge enables the hybrid app to take full advantage of all the features that modern devices have to off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078DE-0EAB-43EC-B0D5-FB8279C2ECB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493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254F-9338-4BA9-B7AC-A66622A3D013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4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14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149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08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6338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02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8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774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48"/>
            <a:ext cx="8229600" cy="792162"/>
          </a:xfrm>
        </p:spPr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19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4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14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00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22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824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673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24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77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894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81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924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749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92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D01C1-04BE-4996-AB3B-C87F51C2A1D7}" type="datetimeFigureOut">
              <a:rPr lang="en-US" smtClean="0"/>
              <a:pPr/>
              <a:t>3/3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90F8C-3D0D-4DB1-B2BD-1525EA5CE1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0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3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84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1.xml"/><Relationship Id="rId9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728" y="927463"/>
            <a:ext cx="5203065" cy="2009104"/>
          </a:xfrm>
        </p:spPr>
        <p:txBody>
          <a:bodyPr>
            <a:normAutofit/>
          </a:bodyPr>
          <a:lstStyle/>
          <a:p>
            <a:r>
              <a:rPr lang="en-IN" sz="4400" b="1" dirty="0" smtClean="0">
                <a:solidFill>
                  <a:schemeClr val="tx2">
                    <a:lumMod val="75000"/>
                  </a:schemeClr>
                </a:solidFill>
                <a:latin typeface="AR JULIAN" panose="02000000000000000000" pitchFamily="2" charset="0"/>
              </a:rPr>
              <a:t>Hybrid Application </a:t>
            </a:r>
            <a:br>
              <a:rPr lang="en-IN" sz="4400" b="1" dirty="0" smtClean="0">
                <a:solidFill>
                  <a:schemeClr val="tx2">
                    <a:lumMod val="75000"/>
                  </a:schemeClr>
                </a:solidFill>
                <a:latin typeface="AR JULIAN" panose="02000000000000000000" pitchFamily="2" charset="0"/>
              </a:rPr>
            </a:br>
            <a:r>
              <a:rPr lang="en-IN" sz="4400" b="1" dirty="0" smtClean="0">
                <a:solidFill>
                  <a:schemeClr val="tx2">
                    <a:lumMod val="75000"/>
                  </a:schemeClr>
                </a:solidFill>
                <a:latin typeface="AR JULIAN" panose="02000000000000000000" pitchFamily="2" charset="0"/>
              </a:rPr>
              <a:t>   Development</a:t>
            </a:r>
            <a:endParaRPr lang="en-IN" sz="4400" b="1" dirty="0">
              <a:solidFill>
                <a:schemeClr val="tx2">
                  <a:lumMod val="75000"/>
                </a:schemeClr>
              </a:solidFill>
              <a:latin typeface="AR JULIAN" panose="02000000000000000000" pitchFamily="2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156136858"/>
              </p:ext>
            </p:extLst>
          </p:nvPr>
        </p:nvGraphicFramePr>
        <p:xfrm>
          <a:off x="3668332" y="540914"/>
          <a:ext cx="6873025" cy="6317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93183" y="4624251"/>
            <a:ext cx="33040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olidFill>
                  <a:schemeClr val="tx2">
                    <a:lumMod val="50000"/>
                  </a:schemeClr>
                </a:solidFill>
                <a:latin typeface="Adobe Caslon Pro" panose="0205050205050A020403" pitchFamily="18" charset="0"/>
              </a:rPr>
              <a:t>Team members:</a:t>
            </a:r>
          </a:p>
          <a:p>
            <a:r>
              <a:rPr lang="en-IN" b="1" dirty="0" smtClean="0">
                <a:solidFill>
                  <a:schemeClr val="tx2">
                    <a:lumMod val="50000"/>
                  </a:schemeClr>
                </a:solidFill>
                <a:latin typeface="Adobe Caslon Pro" panose="0205050205050A020403" pitchFamily="18" charset="0"/>
              </a:rPr>
              <a:t>Prathamesh Bagwe</a:t>
            </a:r>
            <a:r>
              <a:rPr lang="en-IN" b="1" dirty="0">
                <a:solidFill>
                  <a:schemeClr val="tx2">
                    <a:lumMod val="50000"/>
                  </a:schemeClr>
                </a:solidFill>
                <a:latin typeface="Adobe Caslon Pro" panose="0205050205050A020403" pitchFamily="18" charset="0"/>
              </a:rPr>
              <a:t> </a:t>
            </a:r>
            <a:r>
              <a:rPr lang="en-IN" b="1" dirty="0" smtClean="0">
                <a:solidFill>
                  <a:schemeClr val="tx2">
                    <a:lumMod val="50000"/>
                  </a:schemeClr>
                </a:solidFill>
                <a:latin typeface="Adobe Caslon Pro" panose="0205050205050A020403" pitchFamily="18" charset="0"/>
              </a:rPr>
              <a:t> TE IT-1</a:t>
            </a:r>
          </a:p>
          <a:p>
            <a:r>
              <a:rPr lang="en-IN" b="1" dirty="0" smtClean="0">
                <a:solidFill>
                  <a:schemeClr val="tx2">
                    <a:lumMod val="50000"/>
                  </a:schemeClr>
                </a:solidFill>
                <a:latin typeface="Adobe Caslon Pro" panose="0205050205050A020403" pitchFamily="18" charset="0"/>
              </a:rPr>
              <a:t>Sanket Devlekar     TE IT-1</a:t>
            </a:r>
            <a:endParaRPr lang="en-IN" b="1" dirty="0">
              <a:solidFill>
                <a:schemeClr val="tx2">
                  <a:lumMod val="50000"/>
                </a:schemeClr>
              </a:solidFill>
              <a:latin typeface="Adobe Caslon Pro" panose="0205050205050A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741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rchitecture of Hybrid Apps</a:t>
            </a:r>
            <a:endParaRPr lang="en-US" dirty="0"/>
          </a:p>
        </p:txBody>
      </p:sp>
      <p:pic>
        <p:nvPicPr>
          <p:cNvPr id="49153" name="Picture 1" descr="G:\cpmd_hybridapp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863" y="1336221"/>
            <a:ext cx="8296275" cy="48387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20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/>
          <p:cNvPicPr>
            <a:picLocks noChangeAspect="1" noChangeArrowheads="1"/>
          </p:cNvPicPr>
          <p:nvPr/>
        </p:nvPicPr>
        <p:blipFill rotWithShape="1">
          <a:blip r:embed="rId2"/>
          <a:srcRect t="1676"/>
          <a:stretch/>
        </p:blipFill>
        <p:spPr bwMode="auto">
          <a:xfrm>
            <a:off x="360608" y="1339403"/>
            <a:ext cx="8461420" cy="4045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175"/>
            <a:ext cx="9168599" cy="6854825"/>
          </a:xfrm>
          <a:prstGeom prst="rect">
            <a:avLst/>
          </a:prstGeom>
          <a:solidFill>
            <a:schemeClr val="accent1"/>
          </a:solidFill>
        </p:spPr>
      </p:pic>
    </p:spTree>
    <p:extLst>
      <p:ext uri="{BB962C8B-B14F-4D97-AF65-F5344CB8AC3E}">
        <p14:creationId xmlns:p14="http://schemas.microsoft.com/office/powerpoint/2010/main" val="125969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086006"/>
            <a:ext cx="8229600" cy="715962"/>
          </a:xfrm>
        </p:spPr>
        <p:txBody>
          <a:bodyPr>
            <a:normAutofit fontScale="90000"/>
          </a:bodyPr>
          <a:lstStyle/>
          <a:p>
            <a:pPr algn="ctr"/>
            <a:r>
              <a:rPr lang="en-IN" dirty="0" smtClean="0"/>
              <a:t/>
            </a:r>
            <a:br>
              <a:rPr lang="en-IN" dirty="0" smtClean="0"/>
            </a:br>
            <a:r>
              <a:rPr lang="en-IN" dirty="0" smtClean="0"/>
              <a:t>Hybrid App Features</a:t>
            </a:r>
            <a:r>
              <a:rPr lang="en-IN" dirty="0"/>
              <a:t/>
            </a:r>
            <a:br>
              <a:rPr lang="en-IN" dirty="0"/>
            </a:br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1107583" y="2304244"/>
            <a:ext cx="748262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2800" dirty="0"/>
          </a:p>
          <a:p>
            <a:pPr marL="514350" indent="-514350">
              <a:buFont typeface="Wingdings" panose="05000000000000000000" pitchFamily="2" charset="2"/>
              <a:buChar char="v"/>
            </a:pPr>
            <a:endParaRPr lang="en-IN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800" dirty="0" smtClean="0"/>
              <a:t> </a:t>
            </a:r>
            <a:r>
              <a:rPr lang="en-IN" sz="2800" dirty="0"/>
              <a:t>Platform independent (</a:t>
            </a:r>
            <a:r>
              <a:rPr lang="en-IN" sz="2800" dirty="0" err="1"/>
              <a:t>iOS</a:t>
            </a:r>
            <a:r>
              <a:rPr lang="en-IN" sz="2800" dirty="0"/>
              <a:t>, Android etc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800" dirty="0" smtClean="0"/>
              <a:t> </a:t>
            </a:r>
            <a:r>
              <a:rPr lang="en-IN" sz="2800" dirty="0"/>
              <a:t>HTML5, CSS3 &amp; J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800" dirty="0" smtClean="0"/>
              <a:t> </a:t>
            </a:r>
            <a:r>
              <a:rPr lang="en-IN" sz="2800" dirty="0"/>
              <a:t>Quick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IN" sz="2800" dirty="0" smtClean="0"/>
              <a:t> </a:t>
            </a:r>
            <a:r>
              <a:rPr lang="en-IN" sz="2800" dirty="0"/>
              <a:t>Direct access to native APIs with Cordov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46975" y="2421228"/>
            <a:ext cx="2468817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IN" sz="2800" b="1" dirty="0"/>
              <a:t>Hybrid App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0897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90" y="3175"/>
            <a:ext cx="9161425" cy="685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9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69769"/>
            <a:ext cx="8229600" cy="1222858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algn="ctr"/>
            <a:r>
              <a:rPr lang="en-IN" dirty="0" smtClean="0">
                <a:solidFill>
                  <a:schemeClr val="accent4">
                    <a:lumMod val="50000"/>
                  </a:schemeClr>
                </a:solidFill>
              </a:rPr>
              <a:t>Cordova , Angular JS and Ionic</a:t>
            </a:r>
            <a:endParaRPr lang="en-IN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7" y="3614323"/>
            <a:ext cx="8048625" cy="159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5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3866" y="3175"/>
            <a:ext cx="9167866" cy="685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079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12584" r="12782"/>
          <a:stretch/>
        </p:blipFill>
        <p:spPr>
          <a:xfrm>
            <a:off x="-296215" y="-228600"/>
            <a:ext cx="9710671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21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12881" r="13277"/>
          <a:stretch/>
        </p:blipFill>
        <p:spPr>
          <a:xfrm>
            <a:off x="-257577" y="-215721"/>
            <a:ext cx="9607639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871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231" y="2901929"/>
            <a:ext cx="8229600" cy="715962"/>
          </a:xfrm>
        </p:spPr>
        <p:txBody>
          <a:bodyPr/>
          <a:lstStyle/>
          <a:p>
            <a:r>
              <a:rPr lang="en-IN" dirty="0" smtClean="0">
                <a:solidFill>
                  <a:srgbClr val="00206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Mobile Application Development</a:t>
            </a:r>
            <a:endParaRPr lang="en-IN" dirty="0">
              <a:solidFill>
                <a:srgbClr val="002060"/>
              </a:solidFill>
              <a:latin typeface="Adobe Gothic Std B" panose="020B0800000000000000" pitchFamily="34" charset="-128"/>
              <a:ea typeface="Adobe Gothic Std B" panose="020B08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662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12882" r="12782"/>
          <a:stretch/>
        </p:blipFill>
        <p:spPr>
          <a:xfrm>
            <a:off x="-257577" y="-228600"/>
            <a:ext cx="9672033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40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3178" r="12881"/>
          <a:stretch/>
        </p:blipFill>
        <p:spPr>
          <a:xfrm>
            <a:off x="-218941" y="-215721"/>
            <a:ext cx="9620518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50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2980" r="13178"/>
          <a:stretch/>
        </p:blipFill>
        <p:spPr>
          <a:xfrm>
            <a:off x="-244699" y="-228600"/>
            <a:ext cx="960764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941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" y="0"/>
            <a:ext cx="9144000" cy="6857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dirty="0">
                <a:solidFill>
                  <a:schemeClr val="accent3">
                    <a:lumMod val="20000"/>
                    <a:lumOff val="80000"/>
                  </a:schemeClr>
                </a:solidFill>
                <a:latin typeface="Adobe Garamond Pro Bold" panose="02020702060506020403" pitchFamily="18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839680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026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Native Applications</a:t>
            </a:r>
            <a:endParaRPr lang="en-IN" dirty="0"/>
          </a:p>
        </p:txBody>
      </p:sp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19453" y="1766888"/>
            <a:ext cx="3086100" cy="332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457200" y="1593669"/>
            <a:ext cx="467650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Downloaded directly to the device and           stored locally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Interfaces directly with the mobile O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It can access all the API’s that are made available by the O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Developer writes source code and includes images, audio files and puts in into a binary executable file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These tools are included in the Software Development Kit(SDK).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125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 smtClean="0"/>
              <a:t>Application Programming Interface(API)</a:t>
            </a:r>
            <a:endParaRPr lang="en-US" sz="3600" dirty="0"/>
          </a:p>
        </p:txBody>
      </p:sp>
      <p:sp>
        <p:nvSpPr>
          <p:cNvPr id="3" name="TextBox 2"/>
          <p:cNvSpPr txBox="1"/>
          <p:nvPr/>
        </p:nvSpPr>
        <p:spPr>
          <a:xfrm>
            <a:off x="678426" y="1474839"/>
            <a:ext cx="755117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It is a set of routines, protocols, and tools for building software application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r>
              <a:rPr lang="en-US" sz="2000" b="1" dirty="0" smtClean="0"/>
              <a:t>Low-level APIs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The app can interact directly with the touch screen or keyboard, render graphics, connect to networks, process audio received from the</a:t>
            </a:r>
          </a:p>
          <a:p>
            <a:r>
              <a:rPr lang="en-US" sz="2000" dirty="0" smtClean="0"/>
              <a:t>microphone, play sounds through the speaker or headphones, or</a:t>
            </a:r>
          </a:p>
          <a:p>
            <a:r>
              <a:rPr lang="en-US" sz="2000" dirty="0" smtClean="0"/>
              <a:t>receive images and videos from the camera.</a:t>
            </a:r>
          </a:p>
          <a:p>
            <a:endParaRPr lang="en-US" sz="2000" dirty="0" smtClean="0"/>
          </a:p>
          <a:p>
            <a:r>
              <a:rPr lang="en-US" sz="2000" b="1" dirty="0" smtClean="0"/>
              <a:t>High-level APIs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Browsing the web, managing the calendar, contacts, photo album and, of course, the ability to make phone calls or send and receive text</a:t>
            </a:r>
          </a:p>
          <a:p>
            <a:r>
              <a:rPr lang="en-US" sz="2000" dirty="0" smtClean="0"/>
              <a:t>messages.</a:t>
            </a:r>
            <a:endParaRPr lang="en-US" sz="2000" b="1" dirty="0" smtClean="0"/>
          </a:p>
          <a:p>
            <a:endParaRPr lang="en-US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PIs for various platforms</a:t>
            </a:r>
            <a:endParaRPr lang="en-US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 rotWithShape="1">
          <a:blip r:embed="rId2"/>
          <a:srcRect t="10049"/>
          <a:stretch/>
        </p:blipFill>
        <p:spPr bwMode="auto">
          <a:xfrm>
            <a:off x="457201" y="1970468"/>
            <a:ext cx="8229600" cy="3515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eb Applications</a:t>
            </a:r>
            <a:endParaRPr lang="en-US" dirty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89666" y="1769337"/>
            <a:ext cx="2971800" cy="326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250723" y="1445342"/>
            <a:ext cx="50292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A web application or web app is any software that runs in a web browser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It is created in a browser-supported programming language such as the combination of JavaScript, HTML and CS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HTML5 provides access to rich media, </a:t>
            </a:r>
            <a:r>
              <a:rPr lang="en-US" sz="2000" dirty="0" err="1" smtClean="0"/>
              <a:t>geolocation</a:t>
            </a:r>
            <a:r>
              <a:rPr lang="en-US" sz="2000" dirty="0" smtClean="0"/>
              <a:t> services and offline availability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To help developers build the client-side UI, a</a:t>
            </a:r>
          </a:p>
          <a:p>
            <a:r>
              <a:rPr lang="en-US" sz="2000" dirty="0" smtClean="0"/>
              <a:t>growing number of JavaScript toolkits have been created, such as </a:t>
            </a:r>
            <a:r>
              <a:rPr lang="en-US" sz="2000" dirty="0" err="1" smtClean="0"/>
              <a:t>dojox.mobile</a:t>
            </a:r>
            <a:r>
              <a:rPr lang="en-US" sz="2000" dirty="0" smtClean="0"/>
              <a:t>,</a:t>
            </a:r>
          </a:p>
          <a:p>
            <a:r>
              <a:rPr lang="en-US" sz="2000" dirty="0" err="1" smtClean="0"/>
              <a:t>Sencha</a:t>
            </a:r>
            <a:r>
              <a:rPr lang="en-US" sz="2000" dirty="0" smtClean="0"/>
              <a:t> Touch and </a:t>
            </a:r>
            <a:r>
              <a:rPr lang="en-US" sz="2000" dirty="0" err="1" smtClean="0"/>
              <a:t>jQuery</a:t>
            </a:r>
            <a:r>
              <a:rPr lang="en-US" sz="2000" dirty="0" smtClean="0"/>
              <a:t> Mobile.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Hybrid Applications</a:t>
            </a:r>
            <a:endParaRPr lang="en-US" dirty="0"/>
          </a:p>
        </p:txBody>
      </p:sp>
      <p:pic>
        <p:nvPicPr>
          <p:cNvPr id="38914" name="Picture 2" descr="C:\Users\Prathamesh Bagwe\Desktop\Colg ppt\post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14500" y="1862138"/>
            <a:ext cx="5715000" cy="31337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57" y="1693333"/>
            <a:ext cx="8083685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48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519084"/>
            <a:ext cx="82296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The hybrid approach combines native development with web</a:t>
            </a:r>
          </a:p>
          <a:p>
            <a:r>
              <a:rPr lang="en-US" sz="2000" dirty="0" smtClean="0"/>
              <a:t>technology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Developers write significant portions of their application in cross-platform web technologies, while maintaining direct access to native APIs when required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The native portion of the app can be developed independently, whereas the web portion of the app can be either a web page that resides</a:t>
            </a:r>
          </a:p>
          <a:p>
            <a:r>
              <a:rPr lang="en-US" sz="2000" dirty="0" smtClean="0"/>
              <a:t>on a server.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2" val="67c1b76df0553056cf5dedd5e937f4419fce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40-converging-arrows-powerpoint-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46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140-converging-arrows-powerpoint-template</Template>
  <TotalTime>1559</TotalTime>
  <Words>759</Words>
  <Application>Microsoft Office PowerPoint</Application>
  <PresentationFormat>On-screen Show (4:3)</PresentationFormat>
  <Paragraphs>106</Paragraphs>
  <Slides>2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dobe Gothic Std B</vt:lpstr>
      <vt:lpstr>Adobe Caslon Pro</vt:lpstr>
      <vt:lpstr>Adobe Garamond Pro Bold</vt:lpstr>
      <vt:lpstr>AR JULIAN</vt:lpstr>
      <vt:lpstr>Arial</vt:lpstr>
      <vt:lpstr>Calibri</vt:lpstr>
      <vt:lpstr>Wingdings</vt:lpstr>
      <vt:lpstr>1140-converging-arrows-powerpoint-template</vt:lpstr>
      <vt:lpstr>1_Office Theme</vt:lpstr>
      <vt:lpstr>think-cell Slide</vt:lpstr>
      <vt:lpstr>Hybrid Application     Development</vt:lpstr>
      <vt:lpstr>Mobile Application Development</vt:lpstr>
      <vt:lpstr>Native Applications</vt:lpstr>
      <vt:lpstr>Application Programming Interface(API)</vt:lpstr>
      <vt:lpstr>APIs for various platforms</vt:lpstr>
      <vt:lpstr>Web Applications</vt:lpstr>
      <vt:lpstr>Hybrid Applications</vt:lpstr>
      <vt:lpstr>PowerPoint Presentation</vt:lpstr>
      <vt:lpstr>Overview</vt:lpstr>
      <vt:lpstr>Architecture of Hybrid Apps</vt:lpstr>
      <vt:lpstr>PowerPoint Presentation</vt:lpstr>
      <vt:lpstr>PowerPoint Presentation</vt:lpstr>
      <vt:lpstr>PowerPoint Presentation</vt:lpstr>
      <vt:lpstr> Hybrid App Features </vt:lpstr>
      <vt:lpstr>PowerPoint Presentation</vt:lpstr>
      <vt:lpstr>Cordova , Angular JS and Ioni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verging Arrows Template</dc:title>
  <dc:creator>SlideHunter</dc:creator>
  <cp:lastModifiedBy>Sanket</cp:lastModifiedBy>
  <cp:revision>158</cp:revision>
  <dcterms:created xsi:type="dcterms:W3CDTF">2013-07-28T22:59:31Z</dcterms:created>
  <dcterms:modified xsi:type="dcterms:W3CDTF">2015-03-29T20:35:04Z</dcterms:modified>
</cp:coreProperties>
</file>